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1"/>
  </p:notesMasterIdLst>
  <p:sldIdLst>
    <p:sldId id="257" r:id="rId3"/>
    <p:sldId id="346" r:id="rId4"/>
    <p:sldId id="347" r:id="rId5"/>
    <p:sldId id="348" r:id="rId6"/>
    <p:sldId id="350" r:id="rId7"/>
    <p:sldId id="349" r:id="rId8"/>
    <p:sldId id="351" r:id="rId9"/>
    <p:sldId id="35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9" autoAdjust="0"/>
    <p:restoredTop sz="94684" autoAdjust="0"/>
  </p:normalViewPr>
  <p:slideViewPr>
    <p:cSldViewPr snapToGrid="0">
      <p:cViewPr varScale="1">
        <p:scale>
          <a:sx n="99" d="100"/>
          <a:sy n="99" d="100"/>
        </p:scale>
        <p:origin x="96" y="3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1A0157-FE61-40A3-BC6D-C069C5E51481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CE916-2331-4974-8F1B-2C4E31CDB5B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47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902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06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32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2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2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1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7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7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0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0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6312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831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6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55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95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04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24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132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685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917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63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47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496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85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903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147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0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86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2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46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35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99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6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.xml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F9FCA7-8331-4F88-99E3-1C2E1EB7E548}" type="datetimeFigureOut">
              <a:rPr lang="en-US" smtClean="0"/>
              <a:t>5/16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5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SCAN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2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434F8BB-3F92-4545-AC4A-7185CDE04D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7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434F8BB-3F92-4545-AC4A-7185CDE04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017958BD-A07D-4B65-9835-D8442D3DC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Society | Semiconductor Laboratory</a:t>
            </a:r>
            <a:r>
              <a:rPr lang="de-DE"/>
              <a:t>	</a:t>
            </a:r>
            <a:r>
              <a:rPr lang="de-DE" smtClean="0"/>
              <a:t>dcde UPGRADE </a:t>
            </a:r>
            <a:r>
              <a:rPr lang="de-DE" smtClean="0"/>
              <a:t>|25. workshop on depfet detectors </a:t>
            </a:r>
            <a:r>
              <a:rPr lang="de-DE" smtClean="0"/>
              <a:t>2</a:t>
            </a:r>
            <a:r>
              <a:rPr lang="de-DE" smtClean="0"/>
              <a:t>3.05.2023</a:t>
            </a:r>
            <a:r>
              <a:rPr lang="de-DE" dirty="0"/>
              <a:t>	</a:t>
            </a:r>
            <a:fld id="{4BB1897F-A1AE-4EDF-9F2D-8730C9693DB7}" type="slidenum">
              <a:rPr lang="de-DE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PROPOSALS FOR DCDE UPGRADE</a:t>
            </a:r>
            <a:r>
              <a:rPr lang="de-DE" dirty="0"/>
              <a:t/>
            </a:r>
            <a:br>
              <a:rPr lang="de-DE" dirty="0"/>
            </a:br>
            <a:endParaRPr lang="de-DE" cap="non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</a:pPr>
            <a:r>
              <a:rPr lang="de-DE" dirty="0"/>
              <a:t>Semiconductor Laboratory of the Max Planck Society</a:t>
            </a:r>
          </a:p>
          <a:p>
            <a:pPr lvl="1" indent="0">
              <a:lnSpc>
                <a:spcPts val="2200"/>
              </a:lnSpc>
              <a:buNone/>
            </a:pPr>
            <a:r>
              <a:rPr lang="de-DE" dirty="0" smtClean="0"/>
              <a:t>Eduard Prinker</a:t>
            </a:r>
          </a:p>
        </p:txBody>
      </p:sp>
    </p:spTree>
    <p:extLst>
      <p:ext uri="{BB962C8B-B14F-4D97-AF65-F5344CB8AC3E}">
        <p14:creationId xmlns:p14="http://schemas.microsoft.com/office/powerpoint/2010/main" val="25722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DCDE GAIN SETTINGS – </a:t>
            </a:r>
            <a:r>
              <a:rPr lang="de-DE" smtClean="0"/>
              <a:t>COMPARISION TO BELLE</a:t>
            </a:r>
            <a:br>
              <a:rPr lang="de-DE" smtClean="0"/>
            </a:br>
            <a:r>
              <a:rPr lang="de-DE" sz="1600" smtClean="0"/>
              <a:t>FEEDBACK RESISTOR r</a:t>
            </a:r>
            <a:r>
              <a:rPr lang="de-DE" sz="1600" cap="none" baseline="-25000" smtClean="0"/>
              <a:t>f</a:t>
            </a: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Inhaltsplatzhalter 12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439249" y="2049463"/>
            <a:ext cx="4731877" cy="4311650"/>
          </a:xfrm>
          <a:prstGeom prst="rect">
            <a:avLst/>
          </a:prstGeom>
        </p:spPr>
      </p:pic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346002"/>
              </p:ext>
            </p:extLst>
          </p:nvPr>
        </p:nvGraphicFramePr>
        <p:xfrm>
          <a:off x="6718432" y="2579372"/>
          <a:ext cx="4783756" cy="22043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11215">
                  <a:extLst>
                    <a:ext uri="{9D8B030D-6E8A-4147-A177-3AD203B41FA5}">
                      <a16:colId xmlns:a16="http://schemas.microsoft.com/office/drawing/2014/main" val="3444803673"/>
                    </a:ext>
                  </a:extLst>
                </a:gridCol>
                <a:gridCol w="1886714">
                  <a:extLst>
                    <a:ext uri="{9D8B030D-6E8A-4147-A177-3AD203B41FA5}">
                      <a16:colId xmlns:a16="http://schemas.microsoft.com/office/drawing/2014/main" val="984462771"/>
                    </a:ext>
                  </a:extLst>
                </a:gridCol>
                <a:gridCol w="1885827">
                  <a:extLst>
                    <a:ext uri="{9D8B030D-6E8A-4147-A177-3AD203B41FA5}">
                      <a16:colId xmlns:a16="http://schemas.microsoft.com/office/drawing/2014/main" val="600895389"/>
                    </a:ext>
                  </a:extLst>
                </a:gridCol>
              </a:tblGrid>
              <a:tr h="440877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BELLE II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EDET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30451957"/>
                  </a:ext>
                </a:extLst>
              </a:tr>
              <a:tr h="440877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En3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26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30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16629932"/>
                  </a:ext>
                </a:extLst>
              </a:tr>
              <a:tr h="440877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En6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13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3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36257648"/>
                  </a:ext>
                </a:extLst>
              </a:tr>
              <a:tr h="440877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En9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19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1.5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03580457"/>
                  </a:ext>
                </a:extLst>
              </a:tr>
              <a:tr h="440877">
                <a:tc>
                  <a:txBody>
                    <a:bodyPr/>
                    <a:lstStyle/>
                    <a:p>
                      <a:pPr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En12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</a:rPr>
                        <a:t>15k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404523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07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Possible DCD GAIN SETTINGS</a:t>
            </a: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521342019"/>
              </p:ext>
            </p:extLst>
          </p:nvPr>
        </p:nvGraphicFramePr>
        <p:xfrm>
          <a:off x="5159140" y="2114452"/>
          <a:ext cx="6660682" cy="3518192"/>
        </p:xfrm>
        <a:graphic>
          <a:graphicData uri="http://schemas.openxmlformats.org/drawingml/2006/table">
            <a:tbl>
              <a:tblPr firstRow="1" firstCol="1" bandRow="1"/>
              <a:tblGrid>
                <a:gridCol w="1077489">
                  <a:extLst>
                    <a:ext uri="{9D8B030D-6E8A-4147-A177-3AD203B41FA5}">
                      <a16:colId xmlns:a16="http://schemas.microsoft.com/office/drawing/2014/main" val="2001443913"/>
                    </a:ext>
                  </a:extLst>
                </a:gridCol>
                <a:gridCol w="1077489">
                  <a:extLst>
                    <a:ext uri="{9D8B030D-6E8A-4147-A177-3AD203B41FA5}">
                      <a16:colId xmlns:a16="http://schemas.microsoft.com/office/drawing/2014/main" val="4219901082"/>
                    </a:ext>
                  </a:extLst>
                </a:gridCol>
                <a:gridCol w="1473747">
                  <a:extLst>
                    <a:ext uri="{9D8B030D-6E8A-4147-A177-3AD203B41FA5}">
                      <a16:colId xmlns:a16="http://schemas.microsoft.com/office/drawing/2014/main" val="3361581183"/>
                    </a:ext>
                  </a:extLst>
                </a:gridCol>
                <a:gridCol w="681233">
                  <a:extLst>
                    <a:ext uri="{9D8B030D-6E8A-4147-A177-3AD203B41FA5}">
                      <a16:colId xmlns:a16="http://schemas.microsoft.com/office/drawing/2014/main" val="235505043"/>
                    </a:ext>
                  </a:extLst>
                </a:gridCol>
                <a:gridCol w="1077489">
                  <a:extLst>
                    <a:ext uri="{9D8B030D-6E8A-4147-A177-3AD203B41FA5}">
                      <a16:colId xmlns:a16="http://schemas.microsoft.com/office/drawing/2014/main" val="2953915488"/>
                    </a:ext>
                  </a:extLst>
                </a:gridCol>
                <a:gridCol w="1273235">
                  <a:extLst>
                    <a:ext uri="{9D8B030D-6E8A-4147-A177-3AD203B41FA5}">
                      <a16:colId xmlns:a16="http://schemas.microsoft.com/office/drawing/2014/main" val="3619392071"/>
                    </a:ext>
                  </a:extLst>
                </a:gridCol>
              </a:tblGrid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3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6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9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12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i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in Facto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2993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131041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03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488988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06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725084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133115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9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43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246851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09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5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645358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5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548388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65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959171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5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54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7228495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75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523265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8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163227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2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3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254152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6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6060552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.5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429438"/>
                  </a:ext>
                </a:extLst>
              </a:tr>
              <a:tr h="219887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3.0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010167"/>
                  </a:ext>
                </a:extLst>
              </a:tr>
            </a:tbl>
          </a:graphicData>
        </a:graphic>
      </p:graphicFrame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2722171"/>
              </p:ext>
            </p:extLst>
          </p:nvPr>
        </p:nvGraphicFramePr>
        <p:xfrm>
          <a:off x="718036" y="2325535"/>
          <a:ext cx="3960495" cy="1584960"/>
        </p:xfrm>
        <a:graphic>
          <a:graphicData uri="http://schemas.openxmlformats.org/drawingml/2006/table">
            <a:tbl>
              <a:tblPr firstRow="1" firstCol="1" bandRow="1"/>
              <a:tblGrid>
                <a:gridCol w="762000">
                  <a:extLst>
                    <a:ext uri="{9D8B030D-6E8A-4147-A177-3AD203B41FA5}">
                      <a16:colId xmlns:a16="http://schemas.microsoft.com/office/drawing/2014/main" val="38048250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31057613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5652021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136928588"/>
                    </a:ext>
                  </a:extLst>
                </a:gridCol>
                <a:gridCol w="912495">
                  <a:extLst>
                    <a:ext uri="{9D8B030D-6E8A-4147-A177-3AD203B41FA5}">
                      <a16:colId xmlns:a16="http://schemas.microsoft.com/office/drawing/2014/main" val="726340173"/>
                    </a:ext>
                  </a:extLst>
                </a:gridCol>
              </a:tblGrid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3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6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n9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in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i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in Factor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7142416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4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.55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0051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5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.49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44498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73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.08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8405550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58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.53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883268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2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.9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233165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87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.3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557762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73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8.60</a:t>
                      </a:r>
                      <a:endParaRPr lang="en-US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95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590314"/>
                  </a:ext>
                </a:extLst>
              </a:tr>
            </a:tbl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2061890" y="1912021"/>
            <a:ext cx="636393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smtClean="0"/>
              <a:t>BELLE</a:t>
            </a:r>
            <a:endParaRPr lang="en-US" sz="1600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8216970" y="1720553"/>
            <a:ext cx="545021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smtClean="0"/>
              <a:t>EDET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30333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Large gap in DCDE GAIN SETTINGS</a:t>
            </a:r>
            <a:br>
              <a:rPr lang="de-DE" smtClean="0"/>
            </a:b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974635" y="1904583"/>
            <a:ext cx="8398788" cy="4311650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4" name="Textfeld 3"/>
              <p:cNvSpPr txBox="1"/>
              <p:nvPr/>
            </p:nvSpPr>
            <p:spPr>
              <a:xfrm>
                <a:off x="558265" y="2050181"/>
                <a:ext cx="2271562" cy="366626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b="1" smtClean="0">
                    <a:solidFill>
                      <a:srgbClr val="FF0000"/>
                    </a:solidFill>
                  </a:rPr>
                  <a:t>BASIC SCENARIO 100 TEM electrons</a:t>
                </a:r>
              </a:p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600" smtClean="0"/>
                  <a:t>generate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~800,000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sz="1600" dirty="0" smtClean="0"/>
                  <a:t> </a:t>
                </a:r>
                <a:r>
                  <a:rPr lang="en-US" sz="1600" smtClean="0"/>
                  <a:t>within pixel </a:t>
                </a:r>
                <a:r>
                  <a:rPr lang="en-US" sz="1600" smtClean="0">
                    <a:sym typeface="Wingdings" panose="05000000000000000000" pitchFamily="2" charset="2"/>
                  </a:rPr>
                  <a:t> induce drain current of about 70-90 µA: gain 11 range too small (200 ADU: 42µA), gain 3.3 range too large (200 ADU: 136µA)  would prefer a gain setting of 6/7 times lowest gain setting</a:t>
                </a:r>
                <a:endParaRPr lang="en-US" sz="1600" dirty="0" err="1" smtClean="0"/>
              </a:p>
            </p:txBody>
          </p:sp>
        </mc:Choice>
        <mc:Fallback>
          <p:sp>
            <p:nvSpPr>
              <p:cNvPr id="4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8265" y="2050181"/>
                <a:ext cx="2271562" cy="3666260"/>
              </a:xfrm>
              <a:prstGeom prst="rect">
                <a:avLst/>
              </a:prstGeom>
              <a:blipFill>
                <a:blip r:embed="rId3"/>
                <a:stretch>
                  <a:fillRect l="-5645" t="-997" r="-7527" b="-24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3744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Process variations dcde</a:t>
            </a:r>
            <a:br>
              <a:rPr lang="de-DE" smtClean="0"/>
            </a:br>
            <a:r>
              <a:rPr lang="de-DE" sz="1600" smtClean="0"/>
              <a:t>contribute to one third of observed offset variation (30</a:t>
            </a:r>
            <a:r>
              <a:rPr lang="el-GR" sz="1600" cap="none" smtClean="0"/>
              <a:t>μ</a:t>
            </a:r>
            <a:r>
              <a:rPr lang="en-US" sz="1600" smtClean="0"/>
              <a:t>A)</a:t>
            </a:r>
            <a:r>
              <a:rPr lang="de-DE" smtClean="0"/>
              <a:t/>
            </a:r>
            <a:br>
              <a:rPr lang="de-DE" smtClean="0"/>
            </a:b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Inhaltsplatzhalter 4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520943" y="1865727"/>
            <a:ext cx="9150115" cy="3657842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3166712" y="5761121"/>
            <a:ext cx="3926139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>
                <a:solidFill>
                  <a:srgbClr val="FF0000"/>
                </a:solidFill>
              </a:rPr>
              <a:t>f</a:t>
            </a:r>
            <a:r>
              <a:rPr lang="en-US" sz="1600" b="1" smtClean="0">
                <a:solidFill>
                  <a:srgbClr val="FF0000"/>
                </a:solidFill>
              </a:rPr>
              <a:t>rom ADC scans external current source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0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2-bit dac + ipdac</a:t>
            </a:r>
            <a:br>
              <a:rPr lang="de-DE" smtClean="0"/>
            </a:br>
            <a:r>
              <a:rPr lang="de-DE" sz="1600" smtClean="0"/>
              <a:t>reduces range of observerd offset distribution</a:t>
            </a:r>
            <a:r>
              <a:rPr lang="de-DE" smtClean="0"/>
              <a:t/>
            </a:r>
            <a:br>
              <a:rPr lang="de-DE" smtClean="0"/>
            </a:b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052584" y="2097088"/>
            <a:ext cx="10086832" cy="431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831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Higher bit resolutions</a:t>
            </a:r>
            <a:br>
              <a:rPr lang="de-DE" smtClean="0"/>
            </a:b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Inhaltsplatzhalter 4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052585" y="1329203"/>
            <a:ext cx="10086832" cy="4311650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1578543" y="5765533"/>
            <a:ext cx="9760017" cy="5629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/>
              <a:t>a</a:t>
            </a:r>
            <a:r>
              <a:rPr lang="en-US" sz="1600" smtClean="0"/>
              <a:t>verage IPDAC current step ≈2µA: 2-bit DAC@3 + IPDAC=5 </a:t>
            </a:r>
            <a:r>
              <a:rPr lang="en-US" sz="1600" smtClean="0">
                <a:sym typeface="Wingdings" panose="05000000000000000000" pitchFamily="2" charset="2"/>
              </a:rPr>
              <a:t> </a:t>
            </a:r>
            <a:r>
              <a:rPr lang="en-US" sz="1600" smtClean="0"/>
              <a:t>lowest pixel ADU would jump to other side of distribution </a:t>
            </a:r>
            <a:r>
              <a:rPr lang="en-US" sz="1600" b="1" smtClean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en-US" sz="1600" smtClean="0">
                <a:sym typeface="Wingdings" panose="05000000000000000000" pitchFamily="2" charset="2"/>
              </a:rPr>
              <a:t> </a:t>
            </a:r>
            <a:r>
              <a:rPr lang="en-US" sz="1600" b="1" smtClean="0">
                <a:solidFill>
                  <a:srgbClr val="FF0000"/>
                </a:solidFill>
                <a:sym typeface="Wingdings" panose="05000000000000000000" pitchFamily="2" charset="2"/>
              </a:rPr>
              <a:t>would wish an increase in bit resolution for both: e.g. 3-bit DAC + 8-bit IPDAC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491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675653"/>
          </a:xfrm>
        </p:spPr>
        <p:txBody>
          <a:bodyPr/>
          <a:lstStyle/>
          <a:p>
            <a:pPr algn="ctr"/>
            <a:r>
              <a:rPr lang="de-DE" smtClean="0"/>
              <a:t>Dcde settings optimization</a:t>
            </a:r>
            <a:br>
              <a:rPr lang="de-DE" smtClean="0"/>
            </a:br>
            <a:r>
              <a:rPr lang="de-DE" sz="1600" smtClean="0"/>
              <a:t>ADC transfer curves</a:t>
            </a:r>
            <a:r>
              <a:rPr lang="de-DE" smtClean="0"/>
              <a:t/>
            </a:r>
            <a:br>
              <a:rPr lang="de-DE" smtClean="0"/>
            </a:br>
            <a:endParaRPr lang="de-DE" sz="1600" cap="none" baseline="-250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dcde upgrad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6319335" cy="4310912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/>
              <a:t>a</a:t>
            </a:r>
            <a:r>
              <a:rPr lang="en-US" smtClean="0"/>
              <a:t>ctually, gain 3.3 is used for DCDE settings optimiz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mtClean="0">
                <a:sym typeface="Wingdings" panose="05000000000000000000" pitchFamily="2" charset="2"/>
              </a:rPr>
              <a:t>BELLE approach not applicable</a:t>
            </a:r>
            <a:endParaRPr lang="en-US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/>
              <a:t>n</a:t>
            </a:r>
            <a:r>
              <a:rPr lang="en-US" smtClean="0"/>
              <a:t>eed about 250µA per DCDE channel provided by an external current sour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/>
              <a:t>o</a:t>
            </a:r>
            <a:r>
              <a:rPr lang="en-US" smtClean="0"/>
              <a:t>ver 16,000 different setting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/>
              <a:t>o</a:t>
            </a:r>
            <a:r>
              <a:rPr lang="en-US" smtClean="0"/>
              <a:t>ptimizing all channels at once would significantly reduce measurement tim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mtClean="0"/>
              <a:t>PROBLEM: supply line to DCDE channels does not allow for such large currents (if 2 or more channels were connected only one channel could be brought into saturation, even after external current source intensity was doubled)</a:t>
            </a:r>
            <a:endParaRPr lang="en-US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13483" y="2097088"/>
            <a:ext cx="3161447" cy="3436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1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mvkTfYBqQbk3o2h2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B195195-032B-4C3E-9FC2-E2D3C4EDB224}">
  <we:reference id="wa104380121" version="2.0.0.0" store="de-DE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4</Words>
  <Application>Microsoft Office PowerPoint</Application>
  <PresentationFormat>Breitbild</PresentationFormat>
  <Paragraphs>181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0" baseType="lpstr">
      <vt:lpstr>.SF NS Symbols Regular</vt:lpstr>
      <vt:lpstr>Arial</vt:lpstr>
      <vt:lpstr>Calibri</vt:lpstr>
      <vt:lpstr>Calibri Light</vt:lpstr>
      <vt:lpstr>Cambria Math</vt:lpstr>
      <vt:lpstr>Symbol</vt:lpstr>
      <vt:lpstr>Times New Roman</vt:lpstr>
      <vt:lpstr>Wingdings</vt:lpstr>
      <vt:lpstr>Wingdings 3</vt:lpstr>
      <vt:lpstr>Office</vt:lpstr>
      <vt:lpstr>1_Office</vt:lpstr>
      <vt:lpstr>think-cell Folie</vt:lpstr>
      <vt:lpstr>PROPOSALS FOR DCDE UPGRADE </vt:lpstr>
      <vt:lpstr>DCDE GAIN SETTINGS – COMPARISION TO BELLE FEEDBACK RESISTOR rf</vt:lpstr>
      <vt:lpstr>Possible DCD GAIN SETTINGS</vt:lpstr>
      <vt:lpstr>Large gap in DCDE GAIN SETTINGS </vt:lpstr>
      <vt:lpstr>Process variations dcde contribute to one third of observed offset variation (30μA) </vt:lpstr>
      <vt:lpstr>2-bit dac + ipdac reduces range of observerd offset distribution </vt:lpstr>
      <vt:lpstr>Higher bit resolutions </vt:lpstr>
      <vt:lpstr>Dcde settings optimization ADC transfer curv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ET DELAY SCANS</dc:title>
  <dc:creator>Eduard Prinker</dc:creator>
  <cp:lastModifiedBy>Eduard Prinker</cp:lastModifiedBy>
  <cp:revision>287</cp:revision>
  <dcterms:created xsi:type="dcterms:W3CDTF">2022-06-24T11:21:47Z</dcterms:created>
  <dcterms:modified xsi:type="dcterms:W3CDTF">2023-05-19T13:50:17Z</dcterms:modified>
</cp:coreProperties>
</file>